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322" r:id="rId2"/>
  </p:sldIdLst>
  <p:sldSz cx="6858000" cy="9906000" type="A4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579B"/>
    <a:srgbClr val="4D4D4D"/>
    <a:srgbClr val="EDF2F9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napToObjects="1">
      <p:cViewPr>
        <p:scale>
          <a:sx n="75" d="100"/>
          <a:sy n="75" d="100"/>
        </p:scale>
        <p:origin x="-3348" y="-48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-3870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A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485204930233598E-2"/>
          <c:y val="0.12516774594163044"/>
          <c:w val="0.96451479506976645"/>
          <c:h val="0.749696087997871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Östereich</c:v>
                </c:pt>
              </c:strCache>
            </c:strRef>
          </c:tx>
          <c:spPr>
            <a:solidFill>
              <a:srgbClr val="24579B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</c:dPt>
          <c:cat>
            <c:numRef>
              <c:f>Tabelle1!$A$2:$A$4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Tabelle1!$B$2:$B$4</c:f>
              <c:numCache>
                <c:formatCode>General</c:formatCode>
                <c:ptCount val="3"/>
                <c:pt idx="0" formatCode="0">
                  <c:v>58330.726035447791</c:v>
                </c:pt>
                <c:pt idx="1">
                  <c:v>52094.776028124215</c:v>
                </c:pt>
                <c:pt idx="2">
                  <c:v>41940.83059436955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09823616"/>
        <c:axId val="209825152"/>
      </c:barChart>
      <c:catAx>
        <c:axId val="209823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txPr>
          <a:bodyPr rot="0"/>
          <a:lstStyle/>
          <a:p>
            <a:pPr>
              <a:defRPr sz="1600">
                <a:solidFill>
                  <a:srgbClr val="24579B"/>
                </a:solidFill>
              </a:defRPr>
            </a:pPr>
            <a:endParaRPr lang="de-DE"/>
          </a:p>
        </c:txPr>
        <c:crossAx val="209825152"/>
        <c:crosses val="autoZero"/>
        <c:auto val="1"/>
        <c:lblAlgn val="ctr"/>
        <c:lblOffset val="100"/>
        <c:tickMarkSkip val="1"/>
        <c:noMultiLvlLbl val="0"/>
      </c:catAx>
      <c:valAx>
        <c:axId val="209825152"/>
        <c:scaling>
          <c:orientation val="minMax"/>
          <c:min val="0"/>
        </c:scaling>
        <c:delete val="0"/>
        <c:axPos val="l"/>
        <c:numFmt formatCode="0" sourceLinked="1"/>
        <c:majorTickMark val="none"/>
        <c:minorTickMark val="none"/>
        <c:tickLblPos val="none"/>
        <c:spPr>
          <a:ln>
            <a:noFill/>
          </a:ln>
        </c:spPr>
        <c:crossAx val="209823616"/>
        <c:crosses val="autoZero"/>
        <c:crossBetween val="between"/>
        <c:dispUnits>
          <c:builtInUnit val="thousands"/>
        </c:dispUnits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A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03054275698901"/>
          <c:y val="6.4099940171963951E-2"/>
          <c:w val="0.51801063868769448"/>
          <c:h val="0.6977662418341646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roduktgrupp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effectLst/>
          </c:spPr>
          <c:dPt>
            <c:idx val="0"/>
            <c:bubble3D val="0"/>
            <c:spPr>
              <a:solidFill>
                <a:srgbClr val="24579B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2.9641378991637629E-3"/>
                  <c:y val="1.080047386016022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2.7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67.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3.8533792689128918E-2"/>
                  <c:y val="-5.98909136523931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Architect Houses</c:v>
                </c:pt>
                <c:pt idx="1">
                  <c:v>System Houses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32700000000000001</c:v>
                </c:pt>
                <c:pt idx="1">
                  <c:v>0.6730000000000000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068302372874077E-2"/>
          <c:y val="0.90055541649433624"/>
          <c:w val="0.94931697627125922"/>
          <c:h val="7.06433198785697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947</cdr:x>
      <cdr:y>0.88967</cdr:y>
    </cdr:from>
    <cdr:to>
      <cdr:x>0.8916</cdr:x>
      <cdr:y>1</cdr:y>
    </cdr:to>
    <cdr:grpSp>
      <cdr:nvGrpSpPr>
        <cdr:cNvPr id="2" name="Gruppieren 1"/>
        <cdr:cNvGrpSpPr/>
      </cdr:nvGrpSpPr>
      <cdr:grpSpPr>
        <a:xfrm xmlns:a="http://schemas.openxmlformats.org/drawingml/2006/main">
          <a:off x="3186764" y="2507312"/>
          <a:ext cx="323333" cy="310938"/>
          <a:chOff x="2311079" y="3710233"/>
          <a:chExt cx="193592" cy="179040"/>
        </a:xfrm>
      </cdr:grpSpPr>
      <cdr:sp macro="" textlink="">
        <cdr:nvSpPr>
          <cdr:cNvPr id="3" name="Oval 21"/>
          <cdr:cNvSpPr>
            <a:spLocks xmlns:a="http://schemas.openxmlformats.org/drawingml/2006/main" noChangeArrowheads="1"/>
          </cdr:cNvSpPr>
        </cdr:nvSpPr>
        <cdr:spPr bwMode="auto">
          <a:xfrm xmlns:a="http://schemas.openxmlformats.org/drawingml/2006/main" rot="13898508">
            <a:off x="2318355" y="3702957"/>
            <a:ext cx="179040" cy="193592"/>
          </a:xfrm>
          <a:prstGeom xmlns:a="http://schemas.openxmlformats.org/drawingml/2006/main" prst="ellipse">
            <a:avLst/>
          </a:prstGeom>
          <a:noFill xmlns:a="http://schemas.openxmlformats.org/drawingml/2006/main"/>
          <a:ln xmlns:a="http://schemas.openxmlformats.org/drawingml/2006/main" w="38100">
            <a:solidFill>
              <a:schemeClr val="bg1"/>
            </a:solidFill>
            <a:round/>
            <a:headEnd/>
            <a:tailEnd/>
          </a:ln>
          <a:extLst xmlns:a="http://schemas.openxmlformats.org/drawingml/2006/main"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cdr:spPr>
        <cdr:txBody>
          <a:bodyPr xmlns:a="http://schemas.openxmlformats.org/drawingml/2006/main" vert="eaVert" wrap="none" lIns="92066" tIns="46034" rIns="92066" bIns="46034" anchor="ctr"/>
          <a:lstStyle xmlns:a="http://schemas.openxmlformats.org/drawingml/2006/main"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700" kern="0" dirty="0">
              <a:solidFill>
                <a:srgbClr val="76777A"/>
              </a:solidFill>
              <a:cs typeface="Arial" charset="0"/>
            </a:endParaRPr>
          </a:p>
        </cdr:txBody>
      </cdr:sp>
      <cdr:sp macro="" textlink="">
        <cdr:nvSpPr>
          <cdr:cNvPr id="4" name="AutoShape 20"/>
          <cdr:cNvSpPr>
            <a:spLocks xmlns:a="http://schemas.openxmlformats.org/drawingml/2006/main" noChangeArrowheads="1"/>
          </cdr:cNvSpPr>
        </cdr:nvSpPr>
        <cdr:spPr bwMode="auto">
          <a:xfrm xmlns:a="http://schemas.openxmlformats.org/drawingml/2006/main" rot="19616350">
            <a:off x="2332434" y="3747930"/>
            <a:ext cx="150885" cy="103646"/>
          </a:xfrm>
          <a:prstGeom xmlns:a="http://schemas.openxmlformats.org/drawingml/2006/main" prst="rightArrow">
            <a:avLst>
              <a:gd name="adj1" fmla="val 35144"/>
              <a:gd name="adj2" fmla="val 69287"/>
            </a:avLst>
          </a:prstGeom>
          <a:solidFill xmlns:a="http://schemas.openxmlformats.org/drawingml/2006/main">
            <a:schemeClr val="bg1"/>
          </a:solidFill>
          <a:ln xmlns:a="http://schemas.openxmlformats.org/drawingml/2006/main" w="38100">
            <a:solidFill>
              <a:schemeClr val="bg1"/>
            </a:solidFill>
            <a:miter lim="800000"/>
            <a:headEnd/>
            <a:tailEnd/>
          </a:ln>
          <a:extLst xmlns:a="http://schemas.openxmlformats.org/drawingml/2006/main"/>
        </cdr:spPr>
        <cdr:txBody>
          <a:bodyPr xmlns:a="http://schemas.openxmlformats.org/drawingml/2006/main" wrap="none" lIns="92066" tIns="46034" rIns="92066" bIns="46034" anchor="ctr"/>
          <a:lstStyle xmlns:a="http://schemas.openxmlformats.org/drawingml/2006/main"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700" kern="0" dirty="0">
              <a:solidFill>
                <a:srgbClr val="76777A"/>
              </a:solidFill>
              <a:cs typeface="Arial" charset="0"/>
            </a:endParaRPr>
          </a:p>
        </cdr:txBody>
      </cdr:sp>
    </cdr:grp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F2EC32-38D7-439A-921F-AEE532A43B39}" type="datetimeFigureOut">
              <a:rPr lang="de-DE" smtClean="0"/>
              <a:t>27.06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B4BE7E-F70C-4284-A4C7-2F0F8B7D19E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13562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92DF50-9311-489D-9F6B-A883CBAC4D6D}" type="datetimeFigureOut">
              <a:rPr lang="de-DE" smtClean="0"/>
              <a:t>27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241550" y="685800"/>
            <a:ext cx="23749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F8A6CB-BFD6-4304-8BC8-282D20A0C04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48984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92872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9289305"/>
            <a:ext cx="6858000" cy="616695"/>
          </a:xfrm>
          <a:prstGeom prst="rect">
            <a:avLst/>
          </a:prstGeom>
          <a:solidFill>
            <a:srgbClr val="2457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noFill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87083" y="199078"/>
            <a:ext cx="5635950" cy="75102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dirty="0" smtClean="0"/>
              <a:t>Titel durch Klicken bearbeiten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7083" y="1352550"/>
            <a:ext cx="6483836" cy="74963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cxnSp>
        <p:nvCxnSpPr>
          <p:cNvPr id="7" name="Gerade Verbindung 6"/>
          <p:cNvCxnSpPr/>
          <p:nvPr/>
        </p:nvCxnSpPr>
        <p:spPr>
          <a:xfrm>
            <a:off x="0" y="970805"/>
            <a:ext cx="6858000" cy="0"/>
          </a:xfrm>
          <a:prstGeom prst="line">
            <a:avLst/>
          </a:prstGeom>
          <a:ln w="38100">
            <a:solidFill>
              <a:srgbClr val="245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0" y="9315430"/>
            <a:ext cx="6857999" cy="590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Quelle: IC Market-Tracking© Solid</a:t>
            </a:r>
            <a:r>
              <a:rPr lang="de-AT" sz="1200" baseline="0" dirty="0" smtClean="0">
                <a:solidFill>
                  <a:schemeClr val="bg1"/>
                </a:solidFill>
              </a:rPr>
              <a:t> </a:t>
            </a:r>
            <a:r>
              <a:rPr lang="de-AT" sz="1200" baseline="0" dirty="0" err="1" smtClean="0">
                <a:solidFill>
                  <a:schemeClr val="bg1"/>
                </a:solidFill>
              </a:rPr>
              <a:t>Houses</a:t>
            </a:r>
            <a:r>
              <a:rPr lang="de-AT" sz="1200" baseline="0" dirty="0" smtClean="0">
                <a:solidFill>
                  <a:schemeClr val="bg1"/>
                </a:solidFill>
              </a:rPr>
              <a:t> in Germany + Austria 2023</a:t>
            </a:r>
            <a:endParaRPr lang="de-AT" sz="1200" dirty="0" smtClean="0">
              <a:solidFill>
                <a:schemeClr val="bg1"/>
              </a:solidFill>
            </a:endParaRPr>
          </a:p>
          <a:p>
            <a:pPr algn="ctr">
              <a:spcAft>
                <a:spcPts val="60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Interconnection Consulting</a:t>
            </a:r>
            <a:r>
              <a:rPr lang="de-AT" sz="1200" baseline="0" dirty="0" smtClean="0">
                <a:solidFill>
                  <a:schemeClr val="bg1"/>
                </a:solidFill>
              </a:rPr>
              <a:t> – </a:t>
            </a:r>
            <a:r>
              <a:rPr lang="de-AT" sz="1200" baseline="0" dirty="0" err="1" smtClean="0">
                <a:solidFill>
                  <a:schemeClr val="bg1"/>
                </a:solidFill>
              </a:rPr>
              <a:t>Concultancy</a:t>
            </a:r>
            <a:r>
              <a:rPr lang="de-AT" sz="1200" baseline="0" dirty="0" smtClean="0">
                <a:solidFill>
                  <a:schemeClr val="bg1"/>
                </a:solidFill>
              </a:rPr>
              <a:t> </a:t>
            </a:r>
            <a:r>
              <a:rPr lang="de-AT" sz="1200" baseline="0" dirty="0" err="1" smtClean="0">
                <a:solidFill>
                  <a:schemeClr val="bg1"/>
                </a:solidFill>
              </a:rPr>
              <a:t>with</a:t>
            </a:r>
            <a:r>
              <a:rPr lang="de-AT" sz="1200" baseline="0" dirty="0" smtClean="0">
                <a:solidFill>
                  <a:schemeClr val="bg1"/>
                </a:solidFill>
              </a:rPr>
              <a:t> </a:t>
            </a:r>
            <a:r>
              <a:rPr lang="de-AT" sz="1200" baseline="0" dirty="0" err="1" smtClean="0">
                <a:solidFill>
                  <a:schemeClr val="bg1"/>
                </a:solidFill>
              </a:rPr>
              <a:t>heart</a:t>
            </a:r>
            <a:r>
              <a:rPr lang="de-AT" sz="1200" baseline="0" dirty="0" smtClean="0">
                <a:solidFill>
                  <a:schemeClr val="bg1"/>
                </a:solidFill>
              </a:rPr>
              <a:t> </a:t>
            </a:r>
            <a:r>
              <a:rPr lang="de-AT" sz="1200" baseline="0" dirty="0" err="1" smtClean="0">
                <a:solidFill>
                  <a:schemeClr val="bg1"/>
                </a:solidFill>
              </a:rPr>
              <a:t>and</a:t>
            </a:r>
            <a:r>
              <a:rPr lang="de-AT" sz="1200" baseline="0" dirty="0" smtClean="0">
                <a:solidFill>
                  <a:schemeClr val="bg1"/>
                </a:solidFill>
              </a:rPr>
              <a:t>  </a:t>
            </a:r>
            <a:r>
              <a:rPr lang="de-AT" sz="1200" baseline="0" dirty="0" err="1" smtClean="0">
                <a:solidFill>
                  <a:schemeClr val="bg1"/>
                </a:solidFill>
              </a:rPr>
              <a:t>competence</a:t>
            </a:r>
            <a:r>
              <a:rPr lang="de-AT" sz="1200" baseline="0" dirty="0" smtClean="0">
                <a:solidFill>
                  <a:schemeClr val="bg1"/>
                </a:solidFill>
              </a:rPr>
              <a:t>  I  www.interconnectionconsulting.com</a:t>
            </a:r>
            <a:endParaRPr lang="de-AT" sz="1200" dirty="0">
              <a:solidFill>
                <a:schemeClr val="bg1"/>
              </a:solidFill>
            </a:endParaRPr>
          </a:p>
        </p:txBody>
      </p:sp>
      <p:pic>
        <p:nvPicPr>
          <p:cNvPr id="10" name="Picture 6" descr="Logo IC 2007 [120dpi]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1741" y="251629"/>
            <a:ext cx="1340112" cy="698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3153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rgbClr val="24579B"/>
          </a:solidFill>
          <a:latin typeface="Futura" panose="020B0602020204020303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6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Futura" panose="020B06020202040203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slideLayout" Target="../slideLayouts/slideLayout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chart" Target="../charts/char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Relationship Id="rId51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hteck 92"/>
          <p:cNvSpPr/>
          <p:nvPr/>
        </p:nvSpPr>
        <p:spPr>
          <a:xfrm>
            <a:off x="-16699" y="4539706"/>
            <a:ext cx="6874699" cy="45915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4" name="Ellipse 3"/>
          <p:cNvSpPr/>
          <p:nvPr/>
        </p:nvSpPr>
        <p:spPr>
          <a:xfrm>
            <a:off x="1942902" y="5575021"/>
            <a:ext cx="2794198" cy="278369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" name="Rechteck 2"/>
          <p:cNvSpPr/>
          <p:nvPr/>
        </p:nvSpPr>
        <p:spPr>
          <a:xfrm>
            <a:off x="0" y="1079500"/>
            <a:ext cx="6858000" cy="3390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8283" y="199078"/>
            <a:ext cx="5051458" cy="751024"/>
          </a:xfrm>
        </p:spPr>
        <p:txBody>
          <a:bodyPr>
            <a:noAutofit/>
          </a:bodyPr>
          <a:lstStyle/>
          <a:p>
            <a:r>
              <a:rPr lang="en-US" sz="2000" dirty="0"/>
              <a:t>The market for solid houses collapses</a:t>
            </a:r>
            <a:endParaRPr lang="de-DE" sz="2200" dirty="0"/>
          </a:p>
        </p:txBody>
      </p:sp>
      <p:sp>
        <p:nvSpPr>
          <p:cNvPr id="310" name="Text Box 8"/>
          <p:cNvSpPr txBox="1">
            <a:spLocks noChangeArrowheads="1"/>
          </p:cNvSpPr>
          <p:nvPr/>
        </p:nvSpPr>
        <p:spPr bwMode="auto">
          <a:xfrm>
            <a:off x="194201" y="4590507"/>
            <a:ext cx="5699023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de-AT" dirty="0" err="1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Concepts</a:t>
            </a:r>
            <a:r>
              <a:rPr lang="de-AT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 </a:t>
            </a:r>
            <a:r>
              <a:rPr lang="de-AT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– </a:t>
            </a:r>
            <a:r>
              <a:rPr lang="de-AT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Market Shares </a:t>
            </a:r>
            <a:r>
              <a:rPr lang="de-AT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2022 </a:t>
            </a:r>
            <a:r>
              <a:rPr lang="de-AT" sz="1200" i="1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(</a:t>
            </a:r>
            <a:r>
              <a:rPr lang="de-AT" sz="1200" i="1" dirty="0" err="1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Quantity</a:t>
            </a:r>
            <a:r>
              <a:rPr lang="de-AT" sz="1200" i="1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 </a:t>
            </a:r>
            <a:r>
              <a:rPr lang="de-AT" sz="1200" i="1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in </a:t>
            </a:r>
            <a:r>
              <a:rPr lang="de-AT" sz="1200" i="1" dirty="0" smtClean="0">
                <a:solidFill>
                  <a:schemeClr val="bg1">
                    <a:lumMod val="50000"/>
                  </a:schemeClr>
                </a:solidFill>
                <a:latin typeface="Futura" pitchFamily="34" charset="0"/>
              </a:rPr>
              <a:t>%)</a:t>
            </a:r>
          </a:p>
        </p:txBody>
      </p:sp>
      <p:cxnSp>
        <p:nvCxnSpPr>
          <p:cNvPr id="311" name="Gerade Verbindung 310"/>
          <p:cNvCxnSpPr/>
          <p:nvPr/>
        </p:nvCxnSpPr>
        <p:spPr>
          <a:xfrm>
            <a:off x="-16699" y="4910841"/>
            <a:ext cx="5315390" cy="0"/>
          </a:xfrm>
          <a:prstGeom prst="line">
            <a:avLst/>
          </a:prstGeom>
          <a:ln w="28575">
            <a:solidFill>
              <a:srgbClr val="66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3" name="Gruppieren 342"/>
          <p:cNvGrpSpPr/>
          <p:nvPr/>
        </p:nvGrpSpPr>
        <p:grpSpPr>
          <a:xfrm>
            <a:off x="158283" y="1627745"/>
            <a:ext cx="2119993" cy="2486937"/>
            <a:chOff x="91081" y="2097899"/>
            <a:chExt cx="1232169" cy="13602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44" name="Freeform 10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656782" y="3170372"/>
              <a:ext cx="77784" cy="54060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5" name="Freeform 11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98153" y="3032608"/>
              <a:ext cx="91926" cy="176129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6" name="Freeform 1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88312" y="2467597"/>
              <a:ext cx="190924" cy="296456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7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87838" y="2800674"/>
              <a:ext cx="189156" cy="83705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24579B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8" name="Freeform 15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792905" y="2131032"/>
              <a:ext cx="245726" cy="299944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49" name="Freeform 16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99447" y="2589667"/>
              <a:ext cx="203298" cy="261579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24579B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0" name="Freeform 17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27732" y="2872172"/>
              <a:ext cx="279315" cy="30168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1" name="Freeform 18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47178" y="3057022"/>
              <a:ext cx="37125" cy="90681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2" name="Freeform 2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06992" y="2973316"/>
              <a:ext cx="312903" cy="272042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3" name="Freeform 34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62851" y="2783235"/>
              <a:ext cx="139658" cy="62779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4" name="Freeform 227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49948" y="2097899"/>
              <a:ext cx="500291" cy="39760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5" name="Freeform 228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28261" y="3022144"/>
              <a:ext cx="54802" cy="99399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6" name="Freeform 229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02983" y="2872172"/>
              <a:ext cx="81319" cy="25006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7" name="Freeform 230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34038" y="2647214"/>
              <a:ext cx="93695" cy="80218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8" name="Freeform 231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2824" y="2716968"/>
              <a:ext cx="93695" cy="62779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59" name="Freeform 234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91081" y="2563509"/>
              <a:ext cx="107837" cy="158692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0" name="Freeform 239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54249" y="3198274"/>
              <a:ext cx="104302" cy="259836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1" name="Freeform 242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713352" y="2519913"/>
              <a:ext cx="15911" cy="62779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2" name="Freeform 243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587838" y="2150215"/>
              <a:ext cx="261637" cy="434221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3" name="Freeform 244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741637" y="2495499"/>
              <a:ext cx="30053" cy="62779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4" name="Freeform 245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22902" y="2673372"/>
              <a:ext cx="31821" cy="62779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5" name="Freeform 342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677996" y="2596643"/>
              <a:ext cx="245727" cy="195312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6" name="Freeform 34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748709" y="2821600"/>
              <a:ext cx="162639" cy="78474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7" name="Freeform 34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860082" y="2443183"/>
              <a:ext cx="123747" cy="71498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8" name="Freeform 345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874224" y="2825088"/>
              <a:ext cx="199763" cy="156947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69" name="Freeform 347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990900" y="2816369"/>
              <a:ext cx="95462" cy="87193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0" name="Freeform 348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898974" y="2687323"/>
              <a:ext cx="424276" cy="272042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1" name="Freeform 35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808814" y="2894842"/>
              <a:ext cx="120211" cy="163923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2" name="Freeform 35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861849" y="3013425"/>
              <a:ext cx="76017" cy="66267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3" name="Freeform 437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68629" y="3013425"/>
              <a:ext cx="17678" cy="62779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4" name="Freeform 443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898974" y="2558278"/>
              <a:ext cx="233352" cy="165666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5" name="Freeform 444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739870" y="2922744"/>
              <a:ext cx="91926" cy="959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6" name="Freeform 44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916652" y="2961109"/>
              <a:ext cx="148497" cy="106376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7" name="Freeform 452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686836" y="2882636"/>
              <a:ext cx="141425" cy="125558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8" name="Freeform 453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632033" y="2727432"/>
              <a:ext cx="187388" cy="85450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79" name="Freeform 454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591374" y="2568741"/>
              <a:ext cx="33588" cy="66267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0" name="Freeform 455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559553" y="2573972"/>
              <a:ext cx="28285" cy="64523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1" name="Freeform 456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525964" y="2514681"/>
              <a:ext cx="58338" cy="85450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2" name="Freeform 458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556017" y="2997730"/>
              <a:ext cx="19445" cy="62779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3" name="Freeform 459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24330" y="2729531"/>
              <a:ext cx="328814" cy="299944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4" name="Freeform 46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856546" y="3048302"/>
              <a:ext cx="164406" cy="190081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5" name="Freeform 462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950240" y="3259309"/>
              <a:ext cx="77784" cy="62779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6" name="Freeform 469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819421" y="2500730"/>
              <a:ext cx="180317" cy="73242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7" name="Freeform 472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817654" y="2553046"/>
              <a:ext cx="146728" cy="92425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8" name="Freeform 473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90608" y="2757078"/>
              <a:ext cx="21214" cy="66267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89" name="Freeform 475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700978" y="3257565"/>
              <a:ext cx="15910" cy="62779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90" name="Freeform 519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801743" y="2584435"/>
              <a:ext cx="53034" cy="64523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91" name="Freeform 528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693907" y="2872172"/>
              <a:ext cx="63641" cy="62779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392" name="Freeform 529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3985" y="3105850"/>
              <a:ext cx="17678" cy="62779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endParaRPr lang="de-AT" sz="1600">
                <a:solidFill>
                  <a:prstClr val="black"/>
                </a:solidFill>
                <a:latin typeface="Arial" charset="0"/>
              </a:endParaRPr>
            </a:p>
          </p:txBody>
        </p:sp>
      </p:grpSp>
      <p:cxnSp>
        <p:nvCxnSpPr>
          <p:cNvPr id="408" name="Gerade Verbindung 407"/>
          <p:cNvCxnSpPr/>
          <p:nvPr/>
        </p:nvCxnSpPr>
        <p:spPr>
          <a:xfrm>
            <a:off x="2993845" y="1548516"/>
            <a:ext cx="3864155" cy="0"/>
          </a:xfrm>
          <a:prstGeom prst="line">
            <a:avLst/>
          </a:prstGeom>
          <a:ln w="28575">
            <a:solidFill>
              <a:srgbClr val="245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" name="Text Box 8"/>
          <p:cNvSpPr txBox="1">
            <a:spLocks noChangeArrowheads="1"/>
          </p:cNvSpPr>
          <p:nvPr/>
        </p:nvSpPr>
        <p:spPr bwMode="auto">
          <a:xfrm>
            <a:off x="2759225" y="1228182"/>
            <a:ext cx="390870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de-AT" dirty="0" smtClean="0">
                <a:solidFill>
                  <a:srgbClr val="24579B"/>
                </a:solidFill>
                <a:latin typeface="Futura" pitchFamily="34" charset="0"/>
              </a:rPr>
              <a:t>Germany + Austria – Market Development</a:t>
            </a:r>
            <a:endParaRPr lang="de-AT" sz="1200" i="1" dirty="0" smtClean="0">
              <a:solidFill>
                <a:srgbClr val="24579B"/>
              </a:solidFill>
              <a:latin typeface="Futura" pitchFamily="34" charset="0"/>
            </a:endParaRPr>
          </a:p>
        </p:txBody>
      </p:sp>
      <p:cxnSp>
        <p:nvCxnSpPr>
          <p:cNvPr id="410" name="Gerade Verbindung 409"/>
          <p:cNvCxnSpPr/>
          <p:nvPr/>
        </p:nvCxnSpPr>
        <p:spPr>
          <a:xfrm>
            <a:off x="3177764" y="1548516"/>
            <a:ext cx="3700108" cy="0"/>
          </a:xfrm>
          <a:prstGeom prst="line">
            <a:avLst/>
          </a:prstGeom>
          <a:ln w="28575">
            <a:solidFill>
              <a:srgbClr val="2457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1" name="Inhaltsplatzhalter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9069281"/>
              </p:ext>
            </p:extLst>
          </p:nvPr>
        </p:nvGraphicFramePr>
        <p:xfrm>
          <a:off x="2759224" y="1721456"/>
          <a:ext cx="3936852" cy="2818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161" name="Textfeld 160"/>
          <p:cNvSpPr txBox="1"/>
          <p:nvPr/>
        </p:nvSpPr>
        <p:spPr>
          <a:xfrm>
            <a:off x="5657654" y="3711728"/>
            <a:ext cx="80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-19.5%</a:t>
            </a:r>
            <a:endParaRPr lang="de-AT" sz="1200" dirty="0">
              <a:solidFill>
                <a:schemeClr val="bg1"/>
              </a:solidFill>
            </a:endParaRPr>
          </a:p>
        </p:txBody>
      </p:sp>
      <p:grpSp>
        <p:nvGrpSpPr>
          <p:cNvPr id="96" name="Gruppieren 95"/>
          <p:cNvGrpSpPr/>
          <p:nvPr/>
        </p:nvGrpSpPr>
        <p:grpSpPr>
          <a:xfrm rot="4200000">
            <a:off x="4518959" y="2843209"/>
            <a:ext cx="540000" cy="540000"/>
            <a:chOff x="3135977" y="3394121"/>
            <a:chExt cx="323326" cy="310937"/>
          </a:xfrm>
          <a:scene3d>
            <a:camera prst="orthographicFront">
              <a:rot lat="0" lon="0" rev="0"/>
            </a:camera>
            <a:lightRig rig="threePt" dir="t"/>
          </a:scene3d>
        </p:grpSpPr>
        <p:sp>
          <p:nvSpPr>
            <p:cNvPr id="97" name="Oval 21"/>
            <p:cNvSpPr>
              <a:spLocks noChangeArrowheads="1"/>
            </p:cNvSpPr>
            <p:nvPr/>
          </p:nvSpPr>
          <p:spPr bwMode="auto">
            <a:xfrm rot="13898508">
              <a:off x="3142171" y="3387927"/>
              <a:ext cx="310937" cy="323326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sp3d z="13335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eaVert"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  <p:sp>
          <p:nvSpPr>
            <p:cNvPr id="98" name="AutoShape 20"/>
            <p:cNvSpPr>
              <a:spLocks noChangeArrowheads="1"/>
            </p:cNvSpPr>
            <p:nvPr/>
          </p:nvSpPr>
          <p:spPr bwMode="auto">
            <a:xfrm rot="19616350">
              <a:off x="3171641" y="3459591"/>
              <a:ext cx="252000" cy="180000"/>
            </a:xfrm>
            <a:prstGeom prst="rightArrow">
              <a:avLst>
                <a:gd name="adj1" fmla="val 35144"/>
                <a:gd name="adj2" fmla="val 69287"/>
              </a:avLst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sp3d z="133350"/>
            <a:extLst/>
          </p:spPr>
          <p:txBody>
            <a:bodyPr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</p:grpSp>
      <p:sp>
        <p:nvSpPr>
          <p:cNvPr id="103" name="Textfeld 102"/>
          <p:cNvSpPr txBox="1"/>
          <p:nvPr/>
        </p:nvSpPr>
        <p:spPr>
          <a:xfrm>
            <a:off x="4408401" y="3444673"/>
            <a:ext cx="80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-10.7%</a:t>
            </a:r>
            <a:endParaRPr lang="de-AT" sz="1200" dirty="0">
              <a:solidFill>
                <a:schemeClr val="bg1"/>
              </a:solidFill>
            </a:endParaRPr>
          </a:p>
        </p:txBody>
      </p:sp>
      <p:sp>
        <p:nvSpPr>
          <p:cNvPr id="94" name="Textfeld 93"/>
          <p:cNvSpPr txBox="1"/>
          <p:nvPr/>
        </p:nvSpPr>
        <p:spPr>
          <a:xfrm>
            <a:off x="3108936" y="3686081"/>
            <a:ext cx="8013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200" dirty="0" smtClean="0">
                <a:solidFill>
                  <a:schemeClr val="bg1"/>
                </a:solidFill>
              </a:rPr>
              <a:t>-11.7%</a:t>
            </a:r>
            <a:endParaRPr lang="de-AT" sz="1200" dirty="0">
              <a:solidFill>
                <a:schemeClr val="bg1"/>
              </a:solidFill>
            </a:endParaRPr>
          </a:p>
        </p:txBody>
      </p:sp>
      <p:grpSp>
        <p:nvGrpSpPr>
          <p:cNvPr id="104" name="Gruppieren 103"/>
          <p:cNvGrpSpPr/>
          <p:nvPr/>
        </p:nvGrpSpPr>
        <p:grpSpPr>
          <a:xfrm rot="4380000">
            <a:off x="3264211" y="3045296"/>
            <a:ext cx="540000" cy="540000"/>
            <a:chOff x="3135977" y="3394121"/>
            <a:chExt cx="323326" cy="310937"/>
          </a:xfrm>
        </p:grpSpPr>
        <p:sp>
          <p:nvSpPr>
            <p:cNvPr id="105" name="Oval 21"/>
            <p:cNvSpPr>
              <a:spLocks noChangeArrowheads="1"/>
            </p:cNvSpPr>
            <p:nvPr/>
          </p:nvSpPr>
          <p:spPr bwMode="auto">
            <a:xfrm rot="13898508">
              <a:off x="3142171" y="3387927"/>
              <a:ext cx="310937" cy="323326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eaVert"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  <p:sp>
          <p:nvSpPr>
            <p:cNvPr id="106" name="AutoShape 20"/>
            <p:cNvSpPr>
              <a:spLocks noChangeArrowheads="1"/>
            </p:cNvSpPr>
            <p:nvPr/>
          </p:nvSpPr>
          <p:spPr bwMode="auto">
            <a:xfrm rot="19616350">
              <a:off x="3171641" y="3459591"/>
              <a:ext cx="252000" cy="180000"/>
            </a:xfrm>
            <a:prstGeom prst="rightArrow">
              <a:avLst>
                <a:gd name="adj1" fmla="val 35144"/>
                <a:gd name="adj2" fmla="val 69287"/>
              </a:avLst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</p:grpSp>
      <p:grpSp>
        <p:nvGrpSpPr>
          <p:cNvPr id="110" name="Gruppieren 109"/>
          <p:cNvGrpSpPr/>
          <p:nvPr/>
        </p:nvGrpSpPr>
        <p:grpSpPr>
          <a:xfrm rot="5700000">
            <a:off x="5823246" y="3060338"/>
            <a:ext cx="540000" cy="540000"/>
            <a:chOff x="3135977" y="3394121"/>
            <a:chExt cx="323326" cy="310937"/>
          </a:xfrm>
        </p:grpSpPr>
        <p:sp>
          <p:nvSpPr>
            <p:cNvPr id="111" name="Oval 21"/>
            <p:cNvSpPr>
              <a:spLocks noChangeArrowheads="1"/>
            </p:cNvSpPr>
            <p:nvPr/>
          </p:nvSpPr>
          <p:spPr bwMode="auto">
            <a:xfrm rot="13898508">
              <a:off x="3142171" y="3387927"/>
              <a:ext cx="310937" cy="323326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eaVert"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  <p:sp>
          <p:nvSpPr>
            <p:cNvPr id="113" name="AutoShape 20"/>
            <p:cNvSpPr>
              <a:spLocks noChangeArrowheads="1"/>
            </p:cNvSpPr>
            <p:nvPr/>
          </p:nvSpPr>
          <p:spPr bwMode="auto">
            <a:xfrm rot="19616350">
              <a:off x="3171641" y="3459591"/>
              <a:ext cx="252000" cy="180000"/>
            </a:xfrm>
            <a:prstGeom prst="rightArrow">
              <a:avLst>
                <a:gd name="adj1" fmla="val 35144"/>
                <a:gd name="adj2" fmla="val 69287"/>
              </a:avLst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 wrap="none" lIns="92066" tIns="46034" rIns="92066" bIns="46034" anchor="ctr"/>
            <a:lstStyle/>
            <a:p>
              <a:pPr algn="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700" kern="0" dirty="0">
                <a:solidFill>
                  <a:srgbClr val="76777A"/>
                </a:solidFill>
                <a:cs typeface="Arial" charset="0"/>
              </a:endParaRPr>
            </a:p>
          </p:txBody>
        </p:sp>
      </p:grpSp>
      <p:sp>
        <p:nvSpPr>
          <p:cNvPr id="118" name="Textfeld 117"/>
          <p:cNvSpPr txBox="1"/>
          <p:nvPr/>
        </p:nvSpPr>
        <p:spPr>
          <a:xfrm rot="16200000">
            <a:off x="1680353" y="2868600"/>
            <a:ext cx="210661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AT" sz="1050" dirty="0" smtClean="0">
                <a:solidFill>
                  <a:prstClr val="white">
                    <a:lumMod val="50000"/>
                  </a:prstClr>
                </a:solidFill>
              </a:rPr>
              <a:t>Market Growth in </a:t>
            </a:r>
            <a:r>
              <a:rPr lang="de-AT" sz="1050" dirty="0" err="1" smtClean="0">
                <a:solidFill>
                  <a:prstClr val="white">
                    <a:lumMod val="50000"/>
                  </a:prstClr>
                </a:solidFill>
              </a:rPr>
              <a:t>terms</a:t>
            </a:r>
            <a:r>
              <a:rPr lang="de-AT" sz="1050" dirty="0" smtClean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de-AT" sz="1050" dirty="0" err="1" smtClean="0">
                <a:solidFill>
                  <a:prstClr val="white">
                    <a:lumMod val="50000"/>
                  </a:prstClr>
                </a:solidFill>
              </a:rPr>
              <a:t>of</a:t>
            </a:r>
            <a:r>
              <a:rPr lang="de-AT" sz="1050" dirty="0" smtClean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de-AT" sz="1050" dirty="0" err="1" smtClean="0">
                <a:solidFill>
                  <a:prstClr val="white">
                    <a:lumMod val="50000"/>
                  </a:prstClr>
                </a:solidFill>
              </a:rPr>
              <a:t>quantiy</a:t>
            </a:r>
            <a:endParaRPr lang="de-AT" sz="105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1" name="Rectangle 94"/>
          <p:cNvSpPr/>
          <p:nvPr/>
        </p:nvSpPr>
        <p:spPr>
          <a:xfrm flipV="1">
            <a:off x="4326284" y="7315100"/>
            <a:ext cx="2340000" cy="1237129"/>
          </a:xfrm>
          <a:prstGeom prst="rect">
            <a:avLst/>
          </a:prstGeom>
          <a:solidFill>
            <a:srgbClr val="2457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ectangle 108"/>
          <p:cNvSpPr/>
          <p:nvPr/>
        </p:nvSpPr>
        <p:spPr>
          <a:xfrm flipH="1" flipV="1">
            <a:off x="314418" y="5162662"/>
            <a:ext cx="2340000" cy="13397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TextBox 121"/>
          <p:cNvSpPr txBox="1"/>
          <p:nvPr/>
        </p:nvSpPr>
        <p:spPr>
          <a:xfrm>
            <a:off x="4863959" y="8171362"/>
            <a:ext cx="157811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</a:rPr>
              <a:t>-</a:t>
            </a:r>
            <a:r>
              <a:rPr lang="en-US" sz="2000" dirty="0" smtClean="0">
                <a:solidFill>
                  <a:schemeClr val="bg1"/>
                </a:solidFill>
              </a:rPr>
              <a:t>13.4%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18104" y="5967857"/>
            <a:ext cx="157811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en-US" sz="2000" dirty="0" smtClean="0">
                <a:solidFill>
                  <a:schemeClr val="bg1"/>
                </a:solidFill>
              </a:rPr>
              <a:t>-9</a:t>
            </a:r>
            <a:r>
              <a:rPr lang="en-US" sz="2000" dirty="0">
                <a:solidFill>
                  <a:schemeClr val="bg1"/>
                </a:solidFill>
              </a:rPr>
              <a:t>.</a:t>
            </a:r>
            <a:r>
              <a:rPr lang="en-US" sz="2000" dirty="0" smtClean="0">
                <a:solidFill>
                  <a:schemeClr val="bg1"/>
                </a:solidFill>
              </a:rPr>
              <a:t>3%</a:t>
            </a:r>
          </a:p>
        </p:txBody>
      </p:sp>
      <p:sp>
        <p:nvSpPr>
          <p:cNvPr id="128" name="TextBox 124"/>
          <p:cNvSpPr txBox="1"/>
          <p:nvPr/>
        </p:nvSpPr>
        <p:spPr>
          <a:xfrm>
            <a:off x="158283" y="5162663"/>
            <a:ext cx="2448417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de-DE" sz="1800" dirty="0" smtClean="0">
                <a:solidFill>
                  <a:schemeClr val="bg1"/>
                </a:solidFill>
              </a:rPr>
              <a:t>System </a:t>
            </a:r>
            <a:r>
              <a:rPr lang="de-DE" sz="1800" dirty="0" err="1" smtClean="0">
                <a:solidFill>
                  <a:schemeClr val="bg1"/>
                </a:solidFill>
              </a:rPr>
              <a:t>Houses</a:t>
            </a:r>
            <a:endParaRPr lang="de-DE" sz="1800" dirty="0">
              <a:solidFill>
                <a:schemeClr val="bg1"/>
              </a:solidFill>
            </a:endParaRPr>
          </a:p>
          <a:p>
            <a:endParaRPr lang="de-DE" sz="1400" dirty="0">
              <a:solidFill>
                <a:schemeClr val="bg1"/>
              </a:solidFill>
            </a:endParaRPr>
          </a:p>
          <a:p>
            <a:r>
              <a:rPr lang="de-DE" sz="1400" dirty="0" smtClean="0">
                <a:solidFill>
                  <a:schemeClr val="bg1"/>
                </a:solidFill>
              </a:rPr>
              <a:t>Growth 2021-2022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129" name="TextBox 114"/>
          <p:cNvSpPr txBox="1"/>
          <p:nvPr/>
        </p:nvSpPr>
        <p:spPr>
          <a:xfrm>
            <a:off x="4574992" y="7365765"/>
            <a:ext cx="2182916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ctr" fontAlgn="base">
              <a:spcBef>
                <a:spcPts val="0"/>
              </a:spcBef>
              <a:spcAft>
                <a:spcPct val="0"/>
              </a:spcAft>
              <a:defRPr sz="1600">
                <a:solidFill>
                  <a:schemeClr val="bg1">
                    <a:lumMod val="50000"/>
                  </a:schemeClr>
                </a:solidFill>
                <a:latin typeface="Futura" pitchFamily="34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r>
              <a:rPr lang="de-AT" sz="1800" dirty="0" err="1" smtClean="0">
                <a:solidFill>
                  <a:schemeClr val="bg1"/>
                </a:solidFill>
              </a:rPr>
              <a:t>Architect</a:t>
            </a:r>
            <a:r>
              <a:rPr lang="de-AT" sz="1800" dirty="0" smtClean="0">
                <a:solidFill>
                  <a:schemeClr val="bg1"/>
                </a:solidFill>
              </a:rPr>
              <a:t> </a:t>
            </a:r>
            <a:r>
              <a:rPr lang="de-AT" sz="1800" dirty="0" err="1" smtClean="0">
                <a:solidFill>
                  <a:schemeClr val="bg1"/>
                </a:solidFill>
              </a:rPr>
              <a:t>Houses</a:t>
            </a:r>
            <a:endParaRPr lang="en-US" sz="1800" dirty="0" smtClean="0">
              <a:solidFill>
                <a:schemeClr val="bg1"/>
              </a:solidFill>
            </a:endParaRPr>
          </a:p>
          <a:p>
            <a:endParaRPr lang="de-DE" sz="1400" dirty="0" smtClean="0">
              <a:solidFill>
                <a:schemeClr val="bg1"/>
              </a:solidFill>
            </a:endParaRPr>
          </a:p>
          <a:p>
            <a:r>
              <a:rPr lang="de-DE" sz="1400" dirty="0" smtClean="0">
                <a:solidFill>
                  <a:schemeClr val="bg1"/>
                </a:solidFill>
              </a:rPr>
              <a:t>Growth 2021-2022</a:t>
            </a:r>
          </a:p>
        </p:txBody>
      </p:sp>
      <p:sp>
        <p:nvSpPr>
          <p:cNvPr id="6" name="Ellipse 5"/>
          <p:cNvSpPr/>
          <p:nvPr/>
        </p:nvSpPr>
        <p:spPr>
          <a:xfrm>
            <a:off x="2036506" y="5569125"/>
            <a:ext cx="2784988" cy="278959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graphicFrame>
        <p:nvGraphicFramePr>
          <p:cNvPr id="119" name="Chart 91"/>
          <p:cNvGraphicFramePr/>
          <p:nvPr>
            <p:extLst>
              <p:ext uri="{D42A27DB-BD31-4B8C-83A1-F6EECF244321}">
                <p14:modId xmlns:p14="http://schemas.microsoft.com/office/powerpoint/2010/main" val="3469506623"/>
              </p:ext>
            </p:extLst>
          </p:nvPr>
        </p:nvGraphicFramePr>
        <p:xfrm>
          <a:off x="1266564" y="5550145"/>
          <a:ext cx="4284551" cy="3527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2"/>
          </a:graphicData>
        </a:graphic>
      </p:graphicFrame>
    </p:spTree>
    <p:extLst>
      <p:ext uri="{BB962C8B-B14F-4D97-AF65-F5344CB8AC3E}">
        <p14:creationId xmlns:p14="http://schemas.microsoft.com/office/powerpoint/2010/main" val="4114772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heme/theme1.xml><?xml version="1.0" encoding="utf-8"?>
<a:theme xmlns:a="http://schemas.openxmlformats.org/drawingml/2006/main" name="blank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1">
      <a:majorFont>
        <a:latin typeface="Futura"/>
        <a:ea typeface=""/>
        <a:cs typeface=""/>
      </a:majorFont>
      <a:minorFont>
        <a:latin typeface="Futur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4</Words>
  <Application>Microsoft Office PowerPoint</Application>
  <PresentationFormat>A4-Papier (210x297 mm)</PresentationFormat>
  <Paragraphs>17</Paragraphs>
  <Slides>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2" baseType="lpstr">
      <vt:lpstr>blank</vt:lpstr>
      <vt:lpstr>The market for solid houses collaps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Interconnection - Ernst Rumpeltes</dc:creator>
  <cp:lastModifiedBy>Interconnection - Johannes Lözelt</cp:lastModifiedBy>
  <cp:revision>135</cp:revision>
  <dcterms:created xsi:type="dcterms:W3CDTF">2018-11-16T13:54:58Z</dcterms:created>
  <dcterms:modified xsi:type="dcterms:W3CDTF">2023-06-27T17:13:09Z</dcterms:modified>
</cp:coreProperties>
</file>